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sldIdLst>
    <p:sldId id="256" r:id="rId2"/>
    <p:sldId id="259" r:id="rId3"/>
    <p:sldId id="311" r:id="rId4"/>
    <p:sldId id="299" r:id="rId5"/>
    <p:sldId id="303" r:id="rId6"/>
    <p:sldId id="257" r:id="rId7"/>
    <p:sldId id="258" r:id="rId8"/>
    <p:sldId id="314" r:id="rId9"/>
    <p:sldId id="260" r:id="rId10"/>
    <p:sldId id="261" r:id="rId11"/>
    <p:sldId id="262" r:id="rId12"/>
    <p:sldId id="315" r:id="rId13"/>
    <p:sldId id="316" r:id="rId14"/>
    <p:sldId id="264" r:id="rId15"/>
    <p:sldId id="265" r:id="rId16"/>
    <p:sldId id="266" r:id="rId17"/>
    <p:sldId id="267" r:id="rId18"/>
    <p:sldId id="268" r:id="rId19"/>
    <p:sldId id="269" r:id="rId20"/>
    <p:sldId id="270" r:id="rId21"/>
    <p:sldId id="271" r:id="rId22"/>
    <p:sldId id="272" r:id="rId23"/>
    <p:sldId id="273" r:id="rId24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85" d="100"/>
          <a:sy n="85" d="100"/>
        </p:scale>
        <p:origin x="213" y="55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5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jufaan?utm_source=unsplash&amp;utm_medium=referral&amp;utm_content=creditCopyText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vacation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824535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4229876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428537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78726AD9-4AB7-947F-C1B2-E08F31FD56EE}" type="slidenum">
              <a:rPr/>
              <a:t>12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6788408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31656363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4813927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CF2846-157C-2A5C-742C-71AB2D478887}" type="slidenum">
              <a:rPr/>
              <a:t>13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14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15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16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17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18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19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20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>21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22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3</a:t>
            </a:fld>
            <a:endParaRPr lang="en-ID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ohamed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jufa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373575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6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95154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9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0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F92D059E-EF0A-EB65-3AD8-DD4A6BEDB43D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7772400" imgH="10058400" progId="TCLayout.ActiveDocument.1">
                  <p:embed/>
                </p:oleObj>
              </mc:Choice>
              <mc:Fallback>
                <p:oleObj name="oleObj" r:id="rId14" imgW="7772400" imgH="1005840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4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23" name="Object 2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6600" b="1" dirty="0"/>
              <a:t>We are </a:t>
            </a:r>
            <a:r>
              <a:rPr lang="en-US" sz="6600" b="1" dirty="0" err="1"/>
              <a:t>mustrust</a:t>
            </a:r>
            <a:r>
              <a:rPr lang="en-US" sz="6600" b="1" dirty="0"/>
              <a:t>!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723085" y="3042306"/>
            <a:ext cx="3600953" cy="142894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 bwMode="auto">
          <a:xfrm>
            <a:off x="4217858" y="3295116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8" name="Picture 2" descr="Rust Logo PNG Vector (SVG) Free Download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5103164" y="2636466"/>
            <a:ext cx="2233159" cy="2240628"/>
          </a:xfrm>
          <a:prstGeom prst="rect">
            <a:avLst/>
          </a:prstGeom>
          <a:noFill/>
        </p:spPr>
      </p:pic>
      <p:pic>
        <p:nvPicPr>
          <p:cNvPr id="9" name="Picture 4" descr="MMU letter logo design in illustration. Vector logo, calligraphy ..."/>
          <p:cNvPicPr>
            <a:picLocks noChangeAspect="1" noChangeArrowheads="1"/>
          </p:cNvPicPr>
          <p:nvPr/>
        </p:nvPicPr>
        <p:blipFill rotWithShape="1">
          <a:blip r:embed="rId7"/>
          <a:srcRect l="18603" t="20961" r="18241" b="20269"/>
          <a:stretch/>
        </p:blipFill>
        <p:spPr bwMode="auto">
          <a:xfrm>
            <a:off x="8651855" y="2698303"/>
            <a:ext cx="2233160" cy="2078061"/>
          </a:xfrm>
          <a:prstGeom prst="rect">
            <a:avLst/>
          </a:prstGeom>
          <a:noFill/>
        </p:spPr>
      </p:pic>
      <p:sp>
        <p:nvSpPr>
          <p:cNvPr id="10" name="文本框 9"/>
          <p:cNvSpPr txBox="1"/>
          <p:nvPr/>
        </p:nvSpPr>
        <p:spPr bwMode="auto">
          <a:xfrm>
            <a:off x="7692317" y="3263426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BF0D74F-FF71-A474-0D93-A38E99057F6F}"/>
              </a:ext>
            </a:extLst>
          </p:cNvPr>
          <p:cNvSpPr txBox="1"/>
          <p:nvPr/>
        </p:nvSpPr>
        <p:spPr>
          <a:xfrm>
            <a:off x="3056859" y="5242173"/>
            <a:ext cx="6325771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操作系统原理与设计</a:t>
            </a:r>
            <a:r>
              <a:rPr lang="en-US" altLang="zh-CN" dirty="0">
                <a:latin typeface="+mj-ea"/>
                <a:ea typeface="+mj-ea"/>
              </a:rPr>
              <a:t>(H) </a:t>
            </a:r>
            <a:r>
              <a:rPr lang="zh-CN" altLang="en-US" dirty="0">
                <a:latin typeface="+mj-ea"/>
                <a:ea typeface="+mj-ea"/>
              </a:rPr>
              <a:t>期末答辩 授课教师：邢凯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汇报人：阎昶澍、郭东昊、薄震宇、周翟恩和、王劲博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zh-CN" dirty="0">
                <a:latin typeface="+mj-ea"/>
                <a:ea typeface="+mj-ea"/>
              </a:rPr>
              <a:t>2024</a:t>
            </a:r>
            <a:r>
              <a:rPr lang="zh-CN" altLang="en-US" dirty="0">
                <a:latin typeface="+mj-ea"/>
                <a:ea typeface="+mj-ea"/>
              </a:rPr>
              <a:t>年</a:t>
            </a:r>
            <a:r>
              <a:rPr lang="en-US" altLang="zh-CN" dirty="0">
                <a:latin typeface="+mj-ea"/>
                <a:ea typeface="+mj-ea"/>
              </a:rPr>
              <a:t>7</a:t>
            </a:r>
            <a:r>
              <a:rPr lang="zh-CN" altLang="en-US" dirty="0">
                <a:latin typeface="+mj-ea"/>
                <a:ea typeface="+mj-ea"/>
              </a:rPr>
              <a:t>月</a:t>
            </a:r>
            <a:r>
              <a:rPr lang="en-US" altLang="zh-CN" dirty="0">
                <a:latin typeface="+mj-ea"/>
                <a:ea typeface="+mj-ea"/>
              </a:rPr>
              <a:t>6</a:t>
            </a:r>
            <a:r>
              <a:rPr lang="zh-CN" altLang="en-US" dirty="0">
                <a:latin typeface="+mj-ea"/>
                <a:ea typeface="+mj-ea"/>
              </a:rPr>
              <a:t>日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困难与解决方案</a:t>
            </a:r>
            <a:endParaRPr lang="zh-CN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适配上板</a:t>
            </a:r>
            <a:endParaRPr lang="zh-CN"/>
          </a:p>
        </p:txBody>
      </p:sp>
      <p:sp>
        <p:nvSpPr>
          <p:cNvPr id="3" name="文本框 2"/>
          <p:cNvSpPr txBox="1"/>
          <p:nvPr/>
        </p:nvSpPr>
        <p:spPr bwMode="auto">
          <a:xfrm>
            <a:off x="702860" y="1295400"/>
            <a:ext cx="855714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 dirty="0"/>
              <a:t>问题：上板时为</a:t>
            </a:r>
            <a:r>
              <a:rPr lang="en-US" dirty="0"/>
              <a:t>no-std</a:t>
            </a:r>
            <a:r>
              <a:rPr lang="zh-CN" dirty="0"/>
              <a:t>环境，这意味着不支持</a:t>
            </a:r>
            <a:r>
              <a:rPr lang="en-US" dirty="0"/>
              <a:t>std</a:t>
            </a:r>
            <a:r>
              <a:rPr lang="zh-CN" dirty="0"/>
              <a:t>库。编译时报错如下图。</a:t>
            </a: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zh-CN" dirty="0"/>
              <a:t>解决方案：使用</a:t>
            </a:r>
            <a:r>
              <a:rPr lang="en-US" dirty="0"/>
              <a:t>no-std</a:t>
            </a:r>
            <a:r>
              <a:rPr lang="zh-CN" dirty="0"/>
              <a:t>环境支持的库如</a:t>
            </a:r>
            <a:r>
              <a:rPr lang="en-US" dirty="0"/>
              <a:t>core</a:t>
            </a:r>
            <a:r>
              <a:rPr lang="zh-CN" dirty="0"/>
              <a:t>，</a:t>
            </a:r>
            <a:r>
              <a:rPr lang="en-US" dirty="0" err="1"/>
              <a:t>alloc</a:t>
            </a:r>
            <a:r>
              <a:rPr lang="zh-CN" dirty="0"/>
              <a:t>等来替代</a:t>
            </a:r>
            <a:r>
              <a:rPr lang="en-US" dirty="0"/>
              <a:t>std</a:t>
            </a:r>
            <a:r>
              <a:rPr lang="zh-CN" dirty="0"/>
              <a:t>：</a:t>
            </a:r>
            <a:endParaRPr lang="en-US" dirty="0"/>
          </a:p>
          <a:p>
            <a:pPr marL="285750" indent="-285750">
              <a:buFont typeface="Arial"/>
              <a:buChar char="•"/>
              <a:defRPr/>
            </a:pPr>
            <a:r>
              <a:rPr lang="en-US" dirty="0"/>
              <a:t>core</a:t>
            </a:r>
            <a:r>
              <a:rPr lang="zh-CN" dirty="0"/>
              <a:t>：</a:t>
            </a:r>
            <a:endParaRPr lang="en-US" dirty="0"/>
          </a:p>
          <a:p>
            <a:pPr marL="285750" indent="-285750">
              <a:buFont typeface="Arial"/>
              <a:buChar char="•"/>
              <a:defRPr/>
            </a:pPr>
            <a:r>
              <a:rPr lang="en-US" dirty="0" err="1"/>
              <a:t>alloc</a:t>
            </a:r>
            <a:r>
              <a:rPr lang="zh-CN" dirty="0"/>
              <a:t>：</a:t>
            </a:r>
            <a:endParaRPr lang="en-US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1006549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task模块</a:t>
            </a:r>
            <a:endParaRPr lang="zh-CN"/>
          </a:p>
        </p:txBody>
      </p:sp>
      <p:sp>
        <p:nvSpPr>
          <p:cNvPr id="255685437" name="文本框 255685436"/>
          <p:cNvSpPr txBox="1"/>
          <p:nvPr/>
        </p:nvSpPr>
        <p:spPr bwMode="auto">
          <a:xfrm>
            <a:off x="1446249" y="2270124"/>
            <a:ext cx="9527159" cy="2668806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模块简介</a:t>
            </a:r>
            <a:r>
              <a:rPr sz="2800" b="0" i="0" u="none" dirty="0" err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FreeRTOS任务管理模块，提供任务的创建、删除、挂起和恢复等操作</a:t>
            </a:r>
            <a:r>
              <a:rPr sz="2800" b="0" i="0" u="none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。</a:t>
            </a:r>
            <a:endParaRPr sz="7200" dirty="0"/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核心数据结构</a:t>
            </a:r>
            <a:r>
              <a:rPr sz="2800" b="0" i="0" u="none" dirty="0" err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主要数据结构为</a:t>
            </a:r>
            <a:r>
              <a:rPr sz="2400" b="0" i="0" u="none" dirty="0" err="1">
                <a:solidFill>
                  <a:srgbClr val="000000"/>
                </a:solidFill>
                <a:latin typeface="Courier New"/>
                <a:ea typeface="Courier New"/>
                <a:cs typeface="Courier New"/>
              </a:rPr>
              <a:t>TaskControlBlock</a:t>
            </a:r>
            <a:r>
              <a:rPr sz="2800" b="0" i="0" u="none" dirty="0" err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，包含任务状态、优先级、名称等字段</a:t>
            </a:r>
            <a:r>
              <a:rPr sz="2800" b="0" i="0" u="none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。</a:t>
            </a:r>
            <a:endParaRPr sz="7200" dirty="0"/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关键特性</a:t>
            </a:r>
            <a:r>
              <a:rPr sz="2800" b="0" i="0" u="none" dirty="0" err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通过条件编译适应不同配置，提高模块的灵活性和安全性</a:t>
            </a:r>
            <a:r>
              <a:rPr sz="2800" b="0" i="0" u="none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。</a:t>
            </a:r>
            <a:endParaRPr sz="7200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24018676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task模块</a:t>
            </a:r>
            <a:endParaRPr lang="zh-CN"/>
          </a:p>
        </p:txBody>
      </p:sp>
      <p:pic>
        <p:nvPicPr>
          <p:cNvPr id="1490536056" name="图片 149053605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236709" y="460373"/>
            <a:ext cx="4320289" cy="2898774"/>
          </a:xfrm>
          <a:prstGeom prst="rect">
            <a:avLst/>
          </a:prstGeom>
        </p:spPr>
      </p:pic>
      <p:sp>
        <p:nvSpPr>
          <p:cNvPr id="599271342" name="文本框 599271341"/>
          <p:cNvSpPr txBox="1"/>
          <p:nvPr/>
        </p:nvSpPr>
        <p:spPr bwMode="auto">
          <a:xfrm>
            <a:off x="906498" y="2322648"/>
            <a:ext cx="5562893" cy="2072998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 marL="371993" indent="-371993">
              <a:buFont typeface="Arial"/>
              <a:buChar char="•"/>
              <a:defRPr/>
            </a:pPr>
            <a:r>
              <a:rPr sz="26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state_list_item</a:t>
            </a:r>
            <a:r>
              <a:rPr sz="26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任务状态列表项。</a:t>
            </a:r>
            <a:endParaRPr sz="4800"/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priority</a:t>
            </a:r>
            <a:r>
              <a:rPr sz="26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任务优先级。</a:t>
            </a:r>
            <a:endParaRPr sz="4800"/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task_name</a:t>
            </a:r>
            <a:r>
              <a:rPr sz="26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任务名称。</a:t>
            </a:r>
            <a:endParaRPr sz="4800"/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stack_pointer</a:t>
            </a:r>
            <a:r>
              <a:rPr sz="26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堆栈指针。</a:t>
            </a:r>
            <a:endParaRPr sz="4800"/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stack_length</a:t>
            </a:r>
            <a:r>
              <a:rPr sz="26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堆栈长度。</a:t>
            </a:r>
            <a:endParaRPr sz="480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</a:t>
            </a:r>
            <a:endParaRPr lang="zh-CN"/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用链表维护内存帧的使用情况,并提供了一系列函数来处理内存访问、页面错误等操作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运行冒泡排序程序，统计访存时间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1790554772" name=" 1790554771"/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address_map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虚拟地址映射到物理地址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先查找TLB,未命中则访问页表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页表项无效时,触发页面错误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更新LRU/FIFO链表和TLB</a:t>
            </a:r>
            <a:endParaRPr sz="2800"/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38956283" name=" 2038956282"/>
          <p:cNvSpPr/>
          <p:nvPr/>
        </p:nvSpPr>
        <p:spPr bwMode="auto">
          <a:xfrm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pageFault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处理页面错误情况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根据ReplacementStrategy选择替换帧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若使用TLB,清除被替换页的TLB条目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脏页写回磁盘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读入导致页面错误的页到替换帧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更新页表项和LRU/FIFO链表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49867382" name=" 2049867381"/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LB_search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在TLB中搜索虚拟地址映射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找到则更新引用位和脏位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未找到返回-1(TLB未命中)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365081642" name=" 365081641"/>
          <p:cNvSpPr/>
          <p:nvPr/>
        </p:nvSpPr>
        <p:spPr bwMode="auto">
          <a:xfrm>
            <a:off x="207999" y="1320756"/>
            <a:ext cx="5533138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LB_update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页号和帧号映射添加到TLB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优先使用空闲条目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无空闲条目时,使用LRU替换策略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被替换条目脏位为1,更新页表项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654427" y="850899"/>
            <a:ext cx="6437585" cy="5556249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模拟结果）</a:t>
            </a:r>
            <a:endParaRPr lang="zh-CN"/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762954276" name="文本框 762954275"/>
          <p:cNvSpPr txBox="1"/>
          <p:nvPr/>
        </p:nvSpPr>
        <p:spPr bwMode="auto">
          <a:xfrm>
            <a:off x="3938624" y="1904999"/>
            <a:ext cx="738349" cy="366119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t>TODO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795378" y="572069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410570" y="1143569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410570" y="1143569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410570" y="1715069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grpSp>
        <p:nvGrpSpPr>
          <p:cNvPr id="16" name="Group 15"/>
          <p:cNvGrpSpPr/>
          <p:nvPr/>
        </p:nvGrpSpPr>
        <p:grpSpPr bwMode="auto">
          <a:xfrm>
            <a:off x="943970" y="1920706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943969" y="3129108"/>
            <a:ext cx="346500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800" dirty="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 dirty="0"/>
          </a:p>
        </p:txBody>
      </p:sp>
      <p:sp>
        <p:nvSpPr>
          <p:cNvPr id="32" name="Title 1"/>
          <p:cNvSpPr txBox="1"/>
          <p:nvPr/>
        </p:nvSpPr>
        <p:spPr bwMode="auto">
          <a:xfrm>
            <a:off x="5612413" y="114356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 dirty="0"/>
          </a:p>
        </p:txBody>
      </p:sp>
      <p:sp>
        <p:nvSpPr>
          <p:cNvPr id="33" name="Title 1"/>
          <p:cNvSpPr txBox="1"/>
          <p:nvPr/>
        </p:nvSpPr>
        <p:spPr bwMode="auto">
          <a:xfrm>
            <a:off x="6486998" y="1197426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3200" dirty="0">
                <a:solidFill>
                  <a:schemeClr val="tx2"/>
                </a:solidFill>
                <a:latin typeface="Segoe UI"/>
                <a:cs typeface="Segoe UI"/>
              </a:rPr>
              <a:t>引言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09350" y="2292625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 dirty="0"/>
          </a:p>
        </p:txBody>
      </p:sp>
      <p:sp>
        <p:nvSpPr>
          <p:cNvPr id="35" name="Title 1"/>
          <p:cNvSpPr txBox="1"/>
          <p:nvPr/>
        </p:nvSpPr>
        <p:spPr bwMode="auto">
          <a:xfrm>
            <a:off x="6486147" y="2298901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09350" y="342388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 dirty="0"/>
          </a:p>
        </p:txBody>
      </p:sp>
      <p:sp>
        <p:nvSpPr>
          <p:cNvPr id="37" name="Title 1"/>
          <p:cNvSpPr txBox="1"/>
          <p:nvPr/>
        </p:nvSpPr>
        <p:spPr bwMode="auto">
          <a:xfrm>
            <a:off x="6486147" y="342388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09350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09350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658323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658323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48630C2-477A-3DCB-E124-791AC7F3A0CD}"/>
              </a:ext>
            </a:extLst>
          </p:cNvPr>
          <p:cNvSpPr txBox="1"/>
          <p:nvPr/>
        </p:nvSpPr>
        <p:spPr bwMode="auto">
          <a:xfrm>
            <a:off x="5609350" y="445219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4</a:t>
            </a:r>
            <a:endParaRPr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A2660AB-BF50-1FE1-6971-698909309D34}"/>
              </a:ext>
            </a:extLst>
          </p:cNvPr>
          <p:cNvSpPr txBox="1"/>
          <p:nvPr/>
        </p:nvSpPr>
        <p:spPr bwMode="auto">
          <a:xfrm>
            <a:off x="6486147" y="445219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dirty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5" name="Straight Connector 44">
            <a:extLst>
              <a:ext uri="{FF2B5EF4-FFF2-40B4-BE49-F238E27FC236}">
                <a16:creationId xmlns:a16="http://schemas.microsoft.com/office/drawing/2014/main" id="{DAEF5943-E732-321B-DBDD-39052AE740DA}"/>
              </a:ext>
            </a:extLst>
          </p:cNvPr>
          <p:cNvCxnSpPr>
            <a:cxnSpLocks/>
          </p:cNvCxnSpPr>
          <p:nvPr/>
        </p:nvCxnSpPr>
        <p:spPr bwMode="auto">
          <a:xfrm>
            <a:off x="5609350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46">
            <a:extLst>
              <a:ext uri="{FF2B5EF4-FFF2-40B4-BE49-F238E27FC236}">
                <a16:creationId xmlns:a16="http://schemas.microsoft.com/office/drawing/2014/main" id="{E6278598-3D8A-5EC6-0AF9-1CFBE7F2DB46}"/>
              </a:ext>
            </a:extLst>
          </p:cNvPr>
          <p:cNvCxnSpPr>
            <a:cxnSpLocks/>
          </p:cNvCxnSpPr>
          <p:nvPr/>
        </p:nvCxnSpPr>
        <p:spPr bwMode="auto">
          <a:xfrm>
            <a:off x="8658323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交叉编译与上板(bindgen方案)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470864448" name="文本框 470864447"/>
          <p:cNvSpPr txBox="1"/>
          <p:nvPr/>
        </p:nvSpPr>
        <p:spPr bwMode="auto">
          <a:xfrm>
            <a:off x="700124" y="1952624"/>
            <a:ext cx="6646189" cy="1228264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sz="2400" dirty="0"/>
              <a:t>用 </a:t>
            </a:r>
            <a:r>
              <a:rPr sz="2400" dirty="0" err="1"/>
              <a:t>wrapper.c</a:t>
            </a:r>
            <a:r>
              <a:rPr sz="2400" dirty="0"/>
              <a:t>  include </a:t>
            </a:r>
            <a:r>
              <a:rPr sz="2400" dirty="0" err="1"/>
              <a:t>所有头文件</a:t>
            </a:r>
            <a:r>
              <a:rPr sz="2400" dirty="0"/>
              <a:t>。</a:t>
            </a:r>
          </a:p>
          <a:p>
            <a:pPr marL="283879" indent="-283879">
              <a:buFont typeface="Arial"/>
              <a:buChar char="•"/>
              <a:defRPr/>
            </a:pPr>
            <a:r>
              <a:rPr sz="2400" dirty="0" err="1"/>
              <a:t>再对这一</a:t>
            </a:r>
            <a:r>
              <a:rPr sz="2400" dirty="0"/>
              <a:t> c </a:t>
            </a:r>
            <a:r>
              <a:rPr sz="2400" dirty="0" err="1"/>
              <a:t>文件进行</a:t>
            </a:r>
            <a:r>
              <a:rPr sz="2400" dirty="0"/>
              <a:t> </a:t>
            </a:r>
            <a:r>
              <a:rPr sz="2400" dirty="0" err="1"/>
              <a:t>bindgen，可以得到干净的</a:t>
            </a:r>
            <a:r>
              <a:rPr sz="2400" dirty="0"/>
              <a:t> </a:t>
            </a:r>
            <a:r>
              <a:rPr sz="2400" dirty="0" err="1"/>
              <a:t>bind.rs（不会生成调用的库函数</a:t>
            </a:r>
            <a:r>
              <a:rPr sz="2400" dirty="0"/>
              <a:t>）</a:t>
            </a: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交叉编译与上板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Arial"/>
              <a:ea typeface="Arial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交叉编译与上板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Arial"/>
              <a:ea typeface="Arial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endParaRPr lang="en-US" dirty="0"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流行性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是最主流的嵌入式操作系统之一，在全球范围内被广泛采用，拥有庞大的社区支持和活跃的生态系统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功能丰富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提供了丰富的功能，如任务管理、内存管理、同步机制等，同时还支持文件系统，满足了嵌入式系统的各种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优异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实时性能出色，能够满足嵌入式系统的实时性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源代码质量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代码精简、可读性强，易于移植到各种嵌入式平台，对开发者友好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版权“友好”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许可证商业友好，允许商业应用和修改，没有版权的后顾之忧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个广泛使用的实时操作系统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(RTOS)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，专为嵌入式系统设计。它由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ichard Barry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于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2003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年首次发布并持续维护。</a:t>
            </a:r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以其简洁、高效、可裁剪的特点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,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全球范围内获得了广泛的认可和应用，其优点包括但不限于右表中列出的部分：</a:t>
            </a:r>
          </a:p>
          <a:p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>
            <a:extLst>
              <a:ext uri="{FF2B5EF4-FFF2-40B4-BE49-F238E27FC236}">
                <a16:creationId xmlns:a16="http://schemas.microsoft.com/office/drawing/2014/main" id="{73FFD281-54B7-CD9A-22C4-D54772CD4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1" y="1755468"/>
            <a:ext cx="3273542" cy="12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654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Rust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所有权系统、借用检查器和生命周期管理等机制，确保在编译时避免内存安全问题，如空指针、野指针、数据竞争等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相当，甚至在某些情况下更好。它通过零成本抽象和内联优化等技术实现高性能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 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门系统级别的编程语言，它旨在解决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等语言在系统级编程中常见的安全性和并发性等问题。</a:t>
            </a:r>
          </a:p>
          <a:p>
            <a:endParaRPr lang="zh-CN" altLang="en-US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传统的系统级编程语言如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处理内存安全性和并发性时存在许多挑战，如空指针、数据竞争等问题。而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的设计目标之一是通过强大的类型系统和所有权机制解决这些问题，提高代码的安全性和可靠性。</a:t>
            </a:r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644F3C-3971-B246-A508-6DEAE3788D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644F3C-3971-B246-A508-6DEAE3788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FC832B-262B-0045-9A84-CB48A3F0CD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26B03E70-A7B4-C941-91C0-B005DFA993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098" r="11590"/>
          <a:stretch>
            <a:fillRect/>
          </a:stretch>
        </p:blipFill>
        <p:spPr>
          <a:xfrm>
            <a:off x="533400" y="577516"/>
            <a:ext cx="3984951" cy="6280484"/>
          </a:xfrm>
          <a:custGeom>
            <a:avLst/>
            <a:gdLst>
              <a:gd name="connsiteX0" fmla="*/ 440058 w 3984951"/>
              <a:gd name="connsiteY0" fmla="*/ 0 h 6280484"/>
              <a:gd name="connsiteX1" fmla="*/ 3544893 w 3984951"/>
              <a:gd name="connsiteY1" fmla="*/ 0 h 6280484"/>
              <a:gd name="connsiteX2" fmla="*/ 3984951 w 3984951"/>
              <a:gd name="connsiteY2" fmla="*/ 440058 h 6280484"/>
              <a:gd name="connsiteX3" fmla="*/ 3984951 w 3984951"/>
              <a:gd name="connsiteY3" fmla="*/ 6280484 h 6280484"/>
              <a:gd name="connsiteX4" fmla="*/ 0 w 3984951"/>
              <a:gd name="connsiteY4" fmla="*/ 6280484 h 6280484"/>
              <a:gd name="connsiteX5" fmla="*/ 0 w 3984951"/>
              <a:gd name="connsiteY5" fmla="*/ 440058 h 6280484"/>
              <a:gd name="connsiteX6" fmla="*/ 440058 w 3984951"/>
              <a:gd name="connsiteY6" fmla="*/ 0 h 628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951" h="6280484">
                <a:moveTo>
                  <a:pt x="440058" y="0"/>
                </a:moveTo>
                <a:lnTo>
                  <a:pt x="3544893" y="0"/>
                </a:lnTo>
                <a:cubicBezTo>
                  <a:pt x="3787930" y="0"/>
                  <a:pt x="3984951" y="197021"/>
                  <a:pt x="3984951" y="440058"/>
                </a:cubicBezTo>
                <a:lnTo>
                  <a:pt x="3984951" y="6280484"/>
                </a:lnTo>
                <a:lnTo>
                  <a:pt x="0" y="6280484"/>
                </a:lnTo>
                <a:lnTo>
                  <a:pt x="0" y="440058"/>
                </a:lnTo>
                <a:cubicBezTo>
                  <a:pt x="0" y="197021"/>
                  <a:pt x="197021" y="0"/>
                  <a:pt x="440058" y="0"/>
                </a:cubicBezTo>
                <a:close/>
              </a:path>
            </a:pathLst>
          </a:cu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DE12DAF-15F0-8345-86E8-9609C6236D69}"/>
              </a:ext>
            </a:extLst>
          </p:cNvPr>
          <p:cNvSpPr/>
          <p:nvPr/>
        </p:nvSpPr>
        <p:spPr>
          <a:xfrm>
            <a:off x="5061912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AD02E6FB-4036-3246-95E3-D2C9EDFC0C50}"/>
              </a:ext>
            </a:extLst>
          </p:cNvPr>
          <p:cNvSpPr/>
          <p:nvPr/>
        </p:nvSpPr>
        <p:spPr>
          <a:xfrm>
            <a:off x="5061912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189F0E56-B602-C54F-9D19-077D7956E697}"/>
              </a:ext>
            </a:extLst>
          </p:cNvPr>
          <p:cNvSpPr/>
          <p:nvPr/>
        </p:nvSpPr>
        <p:spPr>
          <a:xfrm>
            <a:off x="533400" y="577516"/>
            <a:ext cx="3984951" cy="6280484"/>
          </a:xfrm>
          <a:prstGeom prst="round2SameRect">
            <a:avLst>
              <a:gd name="adj1" fmla="val 11043"/>
              <a:gd name="adj2" fmla="val 0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B182E3-0CE6-B948-8C59-7C39E524A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09" y="2290552"/>
            <a:ext cx="3342684" cy="1218795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4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目标</a:t>
            </a:r>
            <a:br>
              <a:rPr lang="en-US" altLang="zh-CN" sz="4000" dirty="0">
                <a:solidFill>
                  <a:schemeClr val="bg1"/>
                </a:solidFill>
              </a:rPr>
            </a:br>
            <a:r>
              <a:rPr lang="en-US" altLang="zh-CN" sz="2400" dirty="0">
                <a:solidFill>
                  <a:schemeClr val="bg1"/>
                </a:solidFill>
              </a:rPr>
              <a:t>——</a:t>
            </a:r>
            <a:r>
              <a:rPr lang="zh-CN" altLang="en-US" sz="2400" dirty="0">
                <a:solidFill>
                  <a:schemeClr val="bg1"/>
                </a:solidFill>
              </a:rPr>
              <a:t>用 </a:t>
            </a:r>
            <a:r>
              <a:rPr lang="en-US" altLang="zh-CN" sz="2400" dirty="0">
                <a:solidFill>
                  <a:schemeClr val="bg1"/>
                </a:solidFill>
              </a:rPr>
              <a:t>Rust </a:t>
            </a:r>
            <a:r>
              <a:rPr lang="zh-CN" altLang="en-US" sz="2400" dirty="0">
                <a:solidFill>
                  <a:schemeClr val="bg1"/>
                </a:solidFill>
              </a:rPr>
              <a:t>改写 </a:t>
            </a:r>
            <a:r>
              <a:rPr lang="en-US" altLang="zh-CN" sz="2400" dirty="0" err="1">
                <a:solidFill>
                  <a:schemeClr val="bg1"/>
                </a:solidFill>
              </a:rPr>
              <a:t>FreeRTOS</a:t>
            </a:r>
            <a:r>
              <a:rPr lang="en-US" altLang="zh-CN" sz="2400" dirty="0">
                <a:solidFill>
                  <a:schemeClr val="bg1"/>
                </a:solidFill>
              </a:rPr>
              <a:t> </a:t>
            </a:r>
            <a:r>
              <a:rPr lang="zh-CN" altLang="en-US" sz="2400" dirty="0">
                <a:solidFill>
                  <a:schemeClr val="bg1"/>
                </a:solidFill>
              </a:rPr>
              <a:t>并支持 </a:t>
            </a:r>
            <a:r>
              <a:rPr lang="en-US" altLang="zh-CN" sz="2400" dirty="0">
                <a:solidFill>
                  <a:schemeClr val="bg1"/>
                </a:solidFill>
              </a:rPr>
              <a:t>MMU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CB1AFD5A-A0A3-9B4B-8910-16FE1C651A58}"/>
              </a:ext>
            </a:extLst>
          </p:cNvPr>
          <p:cNvSpPr/>
          <p:nvPr/>
        </p:nvSpPr>
        <p:spPr>
          <a:xfrm>
            <a:off x="1126958" y="0"/>
            <a:ext cx="1799122" cy="2113750"/>
          </a:xfrm>
          <a:custGeom>
            <a:avLst/>
            <a:gdLst>
              <a:gd name="connsiteX0" fmla="*/ 0 w 1799122"/>
              <a:gd name="connsiteY0" fmla="*/ 0 h 2113750"/>
              <a:gd name="connsiteX1" fmla="*/ 1799122 w 1799122"/>
              <a:gd name="connsiteY1" fmla="*/ 0 h 2113750"/>
              <a:gd name="connsiteX2" fmla="*/ 1799122 w 1799122"/>
              <a:gd name="connsiteY2" fmla="*/ 1214189 h 2113750"/>
              <a:gd name="connsiteX3" fmla="*/ 899561 w 1799122"/>
              <a:gd name="connsiteY3" fmla="*/ 2113750 h 2113750"/>
              <a:gd name="connsiteX4" fmla="*/ 0 w 1799122"/>
              <a:gd name="connsiteY4" fmla="*/ 1214189 h 211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9122" h="2113750">
                <a:moveTo>
                  <a:pt x="0" y="0"/>
                </a:moveTo>
                <a:lnTo>
                  <a:pt x="1799122" y="0"/>
                </a:lnTo>
                <a:lnTo>
                  <a:pt x="1799122" y="1214189"/>
                </a:lnTo>
                <a:cubicBezTo>
                  <a:pt x="1799122" y="1711003"/>
                  <a:pt x="1396375" y="2113750"/>
                  <a:pt x="899561" y="2113750"/>
                </a:cubicBezTo>
                <a:cubicBezTo>
                  <a:pt x="402747" y="2113750"/>
                  <a:pt x="0" y="1711003"/>
                  <a:pt x="0" y="1214189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0BE93C-11C0-4A47-B60C-5F4944A295A9}"/>
              </a:ext>
            </a:extLst>
          </p:cNvPr>
          <p:cNvSpPr txBox="1">
            <a:spLocks/>
          </p:cNvSpPr>
          <p:nvPr/>
        </p:nvSpPr>
        <p:spPr>
          <a:xfrm>
            <a:off x="970009" y="3958050"/>
            <a:ext cx="2727296" cy="11610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选择 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和并发优势</a:t>
            </a:r>
            <a:endParaRPr lang="en-US" altLang="zh-CN" sz="16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添加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增强内存管理和安全性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2A98D8-E0E1-9B45-AC15-21488115704F}"/>
              </a:ext>
            </a:extLst>
          </p:cNvPr>
          <p:cNvCxnSpPr>
            <a:cxnSpLocks/>
          </p:cNvCxnSpPr>
          <p:nvPr/>
        </p:nvCxnSpPr>
        <p:spPr>
          <a:xfrm>
            <a:off x="900628" y="3662964"/>
            <a:ext cx="2231409" cy="4616"/>
          </a:xfrm>
          <a:prstGeom prst="line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AEEB8D4-22DD-6446-B6C7-FCBFFA88D589}"/>
              </a:ext>
            </a:extLst>
          </p:cNvPr>
          <p:cNvSpPr/>
          <p:nvPr/>
        </p:nvSpPr>
        <p:spPr>
          <a:xfrm>
            <a:off x="7345124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CDC272A5-C260-9A46-B74D-43FB2EE956C9}"/>
              </a:ext>
            </a:extLst>
          </p:cNvPr>
          <p:cNvSpPr/>
          <p:nvPr/>
        </p:nvSpPr>
        <p:spPr>
          <a:xfrm>
            <a:off x="9628336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4431F6F-E608-9243-A506-DD02644F460F}"/>
              </a:ext>
            </a:extLst>
          </p:cNvPr>
          <p:cNvSpPr/>
          <p:nvPr/>
        </p:nvSpPr>
        <p:spPr>
          <a:xfrm>
            <a:off x="5567562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07B78A43-516E-E44E-9589-344FC3D26E35}"/>
              </a:ext>
            </a:extLst>
          </p:cNvPr>
          <p:cNvSpPr txBox="1">
            <a:spLocks/>
          </p:cNvSpPr>
          <p:nvPr/>
        </p:nvSpPr>
        <p:spPr>
          <a:xfrm>
            <a:off x="5437745" y="2507791"/>
            <a:ext cx="15451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权机制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E4CC1E5-EB9C-4441-99F6-B33F83468C8C}"/>
              </a:ext>
            </a:extLst>
          </p:cNvPr>
          <p:cNvSpPr txBox="1">
            <a:spLocks/>
          </p:cNvSpPr>
          <p:nvPr/>
        </p:nvSpPr>
        <p:spPr>
          <a:xfrm>
            <a:off x="5277427" y="3472116"/>
            <a:ext cx="1637145" cy="23267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确保了内存安全，防止了常见的缓冲区溢出、越界等内存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仔细思考内存的使用和分配，防止代码中出现未预料到的更改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从而影响代码的正确性和安全性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E2774FE-0088-DB4C-8985-D04E85814181}"/>
              </a:ext>
            </a:extLst>
          </p:cNvPr>
          <p:cNvSpPr/>
          <p:nvPr/>
        </p:nvSpPr>
        <p:spPr>
          <a:xfrm>
            <a:off x="7345124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E9E1B07-CFB2-CB44-AA40-B262B6266BA0}"/>
              </a:ext>
            </a:extLst>
          </p:cNvPr>
          <p:cNvSpPr/>
          <p:nvPr/>
        </p:nvSpPr>
        <p:spPr>
          <a:xfrm>
            <a:off x="7850774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D74CB8D0-7735-A741-A252-FD08F94DBAAA}"/>
              </a:ext>
            </a:extLst>
          </p:cNvPr>
          <p:cNvSpPr txBox="1">
            <a:spLocks/>
          </p:cNvSpPr>
          <p:nvPr/>
        </p:nvSpPr>
        <p:spPr>
          <a:xfrm>
            <a:off x="7614204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命周期管理与借用规则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3436D069-1AB9-6F40-8997-EC30507B6AED}"/>
              </a:ext>
            </a:extLst>
          </p:cNvPr>
          <p:cNvSpPr txBox="1">
            <a:spLocks/>
          </p:cNvSpPr>
          <p:nvPr/>
        </p:nvSpPr>
        <p:spPr>
          <a:xfrm>
            <a:off x="7560639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生命周期管理功能和借用规则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考虑数据的有效期和访问权限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升代码的安全性，增强软件的可维护性和可读性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97A1025-BFA9-D44F-B8B4-07C05BBB38C2}"/>
              </a:ext>
            </a:extLst>
          </p:cNvPr>
          <p:cNvSpPr/>
          <p:nvPr/>
        </p:nvSpPr>
        <p:spPr>
          <a:xfrm>
            <a:off x="9628336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394E852-4291-E145-B46F-A9228A724827}"/>
              </a:ext>
            </a:extLst>
          </p:cNvPr>
          <p:cNvSpPr/>
          <p:nvPr/>
        </p:nvSpPr>
        <p:spPr>
          <a:xfrm>
            <a:off x="10133986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B8D0D9-E517-A842-BB02-2F4AC4C6E358}"/>
              </a:ext>
            </a:extLst>
          </p:cNvPr>
          <p:cNvSpPr txBox="1">
            <a:spLocks/>
          </p:cNvSpPr>
          <p:nvPr/>
        </p:nvSpPr>
        <p:spPr>
          <a:xfrm>
            <a:off x="9897416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型安全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借用检查器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02656AB-C83F-5543-B87E-A8F37FB616DA}"/>
              </a:ext>
            </a:extLst>
          </p:cNvPr>
          <p:cNvSpPr txBox="1">
            <a:spLocks/>
          </p:cNvSpPr>
          <p:nvPr/>
        </p:nvSpPr>
        <p:spPr>
          <a:xfrm>
            <a:off x="9843851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借用检查器保证了代码的类型安全，能够在编译时期就发现潜在的类型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严格遵守类型规则，确保数据类型的正确匹配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避免程序在运行时期的类型错误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B7A7660-AE03-6A49-AD3A-5AA418A3EB6D}"/>
              </a:ext>
            </a:extLst>
          </p:cNvPr>
          <p:cNvGrpSpPr/>
          <p:nvPr/>
        </p:nvGrpSpPr>
        <p:grpSpPr>
          <a:xfrm>
            <a:off x="1592592" y="803209"/>
            <a:ext cx="867854" cy="831182"/>
            <a:chOff x="2684463" y="3278188"/>
            <a:chExt cx="338137" cy="323850"/>
          </a:xfrm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0A34E97-3578-0C4D-ABD9-4E460E48F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535363"/>
              <a:ext cx="269875" cy="66675"/>
            </a:xfrm>
            <a:custGeom>
              <a:avLst/>
              <a:gdLst>
                <a:gd name="T0" fmla="*/ 72 w 72"/>
                <a:gd name="T1" fmla="*/ 18 h 18"/>
                <a:gd name="T2" fmla="*/ 36 w 72"/>
                <a:gd name="T3" fmla="*/ 0 h 18"/>
                <a:gd name="T4" fmla="*/ 0 w 72"/>
                <a:gd name="T5" fmla="*/ 18 h 18"/>
                <a:gd name="T6" fmla="*/ 72 w 7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8">
                  <a:moveTo>
                    <a:pt x="72" y="18"/>
                  </a:moveTo>
                  <a:cubicBezTo>
                    <a:pt x="72" y="4"/>
                    <a:pt x="51" y="0"/>
                    <a:pt x="36" y="0"/>
                  </a:cubicBezTo>
                  <a:cubicBezTo>
                    <a:pt x="21" y="0"/>
                    <a:pt x="0" y="4"/>
                    <a:pt x="0" y="18"/>
                  </a:cubicBezTo>
                  <a:lnTo>
                    <a:pt x="72" y="18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E665ABD-45D1-8444-A8F8-7A2112A34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013" y="3376613"/>
              <a:ext cx="90488" cy="161925"/>
            </a:xfrm>
            <a:custGeom>
              <a:avLst/>
              <a:gdLst>
                <a:gd name="T0" fmla="*/ 0 w 57"/>
                <a:gd name="T1" fmla="*/ 102 h 102"/>
                <a:gd name="T2" fmla="*/ 57 w 57"/>
                <a:gd name="T3" fmla="*/ 0 h 102"/>
                <a:gd name="T4" fmla="*/ 52 w 57"/>
                <a:gd name="T5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02">
                  <a:moveTo>
                    <a:pt x="0" y="102"/>
                  </a:moveTo>
                  <a:lnTo>
                    <a:pt x="57" y="0"/>
                  </a:lnTo>
                  <a:lnTo>
                    <a:pt x="52" y="100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1AB8F87-4067-5148-A037-D7BCA7391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338513"/>
              <a:ext cx="165100" cy="76200"/>
            </a:xfrm>
            <a:custGeom>
              <a:avLst/>
              <a:gdLst>
                <a:gd name="T0" fmla="*/ 44 w 44"/>
                <a:gd name="T1" fmla="*/ 10 h 20"/>
                <a:gd name="T2" fmla="*/ 0 w 44"/>
                <a:gd name="T3" fmla="*/ 19 h 20"/>
                <a:gd name="T4" fmla="*/ 44 w 44"/>
                <a:gd name="T5" fmla="*/ 6 h 20"/>
                <a:gd name="T6" fmla="*/ 44 w 44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0">
                  <a:moveTo>
                    <a:pt x="44" y="10"/>
                  </a:moveTo>
                  <a:cubicBezTo>
                    <a:pt x="30" y="20"/>
                    <a:pt x="16" y="20"/>
                    <a:pt x="0" y="19"/>
                  </a:cubicBezTo>
                  <a:cubicBezTo>
                    <a:pt x="8" y="0"/>
                    <a:pt x="34" y="2"/>
                    <a:pt x="44" y="6"/>
                  </a:cubicBezTo>
                  <a:lnTo>
                    <a:pt x="44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958D78E-4B63-4D4F-975D-B807279FD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278188"/>
              <a:ext cx="112713" cy="82550"/>
            </a:xfrm>
            <a:custGeom>
              <a:avLst/>
              <a:gdLst>
                <a:gd name="T0" fmla="*/ 0 w 30"/>
                <a:gd name="T1" fmla="*/ 10 h 22"/>
                <a:gd name="T2" fmla="*/ 30 w 30"/>
                <a:gd name="T3" fmla="*/ 22 h 22"/>
                <a:gd name="T4" fmla="*/ 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0" y="10"/>
                  </a:moveTo>
                  <a:cubicBezTo>
                    <a:pt x="14" y="0"/>
                    <a:pt x="30" y="12"/>
                    <a:pt x="30" y="22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B2B492E-BC9D-C147-94AA-B9F1FC26C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338513"/>
              <a:ext cx="165100" cy="82550"/>
            </a:xfrm>
            <a:custGeom>
              <a:avLst/>
              <a:gdLst>
                <a:gd name="T0" fmla="*/ 0 w 44"/>
                <a:gd name="T1" fmla="*/ 10 h 22"/>
                <a:gd name="T2" fmla="*/ 44 w 44"/>
                <a:gd name="T3" fmla="*/ 19 h 22"/>
                <a:gd name="T4" fmla="*/ 0 w 44"/>
                <a:gd name="T5" fmla="*/ 6 h 22"/>
                <a:gd name="T6" fmla="*/ 0 w 44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>
                  <a:moveTo>
                    <a:pt x="0" y="10"/>
                  </a:moveTo>
                  <a:cubicBezTo>
                    <a:pt x="10" y="22"/>
                    <a:pt x="28" y="20"/>
                    <a:pt x="44" y="19"/>
                  </a:cubicBezTo>
                  <a:cubicBezTo>
                    <a:pt x="36" y="0"/>
                    <a:pt x="10" y="2"/>
                    <a:pt x="0" y="6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8A95A88-A31D-5F4B-85BF-7C60C6506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278188"/>
              <a:ext cx="112713" cy="82550"/>
            </a:xfrm>
            <a:custGeom>
              <a:avLst/>
              <a:gdLst>
                <a:gd name="T0" fmla="*/ 30 w 30"/>
                <a:gd name="T1" fmla="*/ 10 h 22"/>
                <a:gd name="T2" fmla="*/ 0 w 30"/>
                <a:gd name="T3" fmla="*/ 22 h 22"/>
                <a:gd name="T4" fmla="*/ 3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30" y="10"/>
                  </a:moveTo>
                  <a:cubicBezTo>
                    <a:pt x="16" y="0"/>
                    <a:pt x="0" y="12"/>
                    <a:pt x="0" y="22"/>
                  </a:cubicBezTo>
                  <a:lnTo>
                    <a:pt x="3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164">
              <a:extLst>
                <a:ext uri="{FF2B5EF4-FFF2-40B4-BE49-F238E27FC236}">
                  <a16:creationId xmlns:a16="http://schemas.microsoft.com/office/drawing/2014/main" id="{417393A0-83E2-4245-9E9B-6D52BE12E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338" y="3505200"/>
              <a:ext cx="2222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165">
              <a:extLst>
                <a:ext uri="{FF2B5EF4-FFF2-40B4-BE49-F238E27FC236}">
                  <a16:creationId xmlns:a16="http://schemas.microsoft.com/office/drawing/2014/main" id="{23A25A64-73D8-EA47-AA3B-F6F608194A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3688" y="3475038"/>
              <a:ext cx="19050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4D924C0-122A-0E45-8036-4273F3BBD86E}"/>
              </a:ext>
            </a:extLst>
          </p:cNvPr>
          <p:cNvGrpSpPr/>
          <p:nvPr/>
        </p:nvGrpSpPr>
        <p:grpSpPr>
          <a:xfrm rot="5400000">
            <a:off x="5817388" y="1449227"/>
            <a:ext cx="557222" cy="559794"/>
            <a:chOff x="2678113" y="6364288"/>
            <a:chExt cx="344488" cy="346075"/>
          </a:xfrm>
        </p:grpSpPr>
        <p:sp>
          <p:nvSpPr>
            <p:cNvPr id="46" name="Freeform 304">
              <a:extLst>
                <a:ext uri="{FF2B5EF4-FFF2-40B4-BE49-F238E27FC236}">
                  <a16:creationId xmlns:a16="http://schemas.microsoft.com/office/drawing/2014/main" id="{4CAB9CC5-0C85-3241-8326-2D8B9F559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305">
              <a:extLst>
                <a:ext uri="{FF2B5EF4-FFF2-40B4-BE49-F238E27FC236}">
                  <a16:creationId xmlns:a16="http://schemas.microsoft.com/office/drawing/2014/main" id="{4DB02C82-4572-7E48-8981-B874E8107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0B8D029-6221-F14D-94AE-1452767722B4}"/>
              </a:ext>
            </a:extLst>
          </p:cNvPr>
          <p:cNvGrpSpPr/>
          <p:nvPr/>
        </p:nvGrpSpPr>
        <p:grpSpPr>
          <a:xfrm rot="5400000">
            <a:off x="8100600" y="1449227"/>
            <a:ext cx="557222" cy="559794"/>
            <a:chOff x="2678113" y="6364288"/>
            <a:chExt cx="344488" cy="346075"/>
          </a:xfrm>
        </p:grpSpPr>
        <p:sp>
          <p:nvSpPr>
            <p:cNvPr id="49" name="Freeform 304">
              <a:extLst>
                <a:ext uri="{FF2B5EF4-FFF2-40B4-BE49-F238E27FC236}">
                  <a16:creationId xmlns:a16="http://schemas.microsoft.com/office/drawing/2014/main" id="{02EB53F3-8D78-3547-B06E-666E2A3C8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05">
              <a:extLst>
                <a:ext uri="{FF2B5EF4-FFF2-40B4-BE49-F238E27FC236}">
                  <a16:creationId xmlns:a16="http://schemas.microsoft.com/office/drawing/2014/main" id="{9CFC3101-26A4-A64C-9038-AF2E2BFB6B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B1B4ACD-EBCD-C34B-A147-26104599BFE7}"/>
              </a:ext>
            </a:extLst>
          </p:cNvPr>
          <p:cNvGrpSpPr/>
          <p:nvPr/>
        </p:nvGrpSpPr>
        <p:grpSpPr>
          <a:xfrm rot="5400000">
            <a:off x="10383812" y="1449227"/>
            <a:ext cx="557222" cy="559794"/>
            <a:chOff x="2678113" y="6364288"/>
            <a:chExt cx="344488" cy="346075"/>
          </a:xfrm>
        </p:grpSpPr>
        <p:sp>
          <p:nvSpPr>
            <p:cNvPr id="53" name="Freeform 304">
              <a:extLst>
                <a:ext uri="{FF2B5EF4-FFF2-40B4-BE49-F238E27FC236}">
                  <a16:creationId xmlns:a16="http://schemas.microsoft.com/office/drawing/2014/main" id="{065056F7-572F-8A40-9C06-1E39E1DC0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05">
              <a:extLst>
                <a:ext uri="{FF2B5EF4-FFF2-40B4-BE49-F238E27FC236}">
                  <a16:creationId xmlns:a16="http://schemas.microsoft.com/office/drawing/2014/main" id="{4E18E2CD-BC0A-B84A-A2D2-5C7632228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B6BCAD5B-1E8B-E8EC-3FDA-251F24FFA06F}"/>
              </a:ext>
            </a:extLst>
          </p:cNvPr>
          <p:cNvSpPr txBox="1"/>
          <p:nvPr/>
        </p:nvSpPr>
        <p:spPr>
          <a:xfrm>
            <a:off x="6031249" y="246578"/>
            <a:ext cx="4911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Rust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语言特性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  <a:p>
            <a:pPr algn="ctr"/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对我们项目开发的启发和要求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D51C91F-48AA-0E6E-35BD-415E17DF9EEC}"/>
              </a:ext>
            </a:extLst>
          </p:cNvPr>
          <p:cNvSpPr txBox="1"/>
          <p:nvPr/>
        </p:nvSpPr>
        <p:spPr>
          <a:xfrm>
            <a:off x="6679269" y="6057781"/>
            <a:ext cx="3775394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安全！细致！动脑子！</a:t>
            </a:r>
            <a:endParaRPr kumimoji="0" lang="en-US" altLang="zh-CN" sz="2800" b="1" i="0" u="none" strike="noStrike" kern="0" cap="none" spc="0" normalizeH="0" baseline="0" noProof="0" dirty="0">
              <a:ln>
                <a:noFill/>
              </a:ln>
              <a:solidFill>
                <a:srgbClr val="04558D">
                  <a:lumMod val="75000"/>
                </a:srgbClr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Segoe UI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44657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 bwMode="auto">
          <a:xfrm>
            <a:off x="523733" y="494310"/>
            <a:ext cx="829185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4400" b="1" dirty="0">
                <a:solidFill>
                  <a:schemeClr val="accent2">
                    <a:lumMod val="75000"/>
                  </a:schemeClr>
                </a:solidFill>
                <a:latin typeface="+mn-ea"/>
              </a:rPr>
              <a:t>小组分工</a:t>
            </a:r>
            <a:endParaRPr lang="zh-CN" sz="4400" b="1" dirty="0"/>
          </a:p>
        </p:txBody>
      </p:sp>
      <p:sp>
        <p:nvSpPr>
          <p:cNvPr id="4" name="文本框 3"/>
          <p:cNvSpPr txBox="1"/>
          <p:nvPr/>
        </p:nvSpPr>
        <p:spPr bwMode="auto">
          <a:xfrm>
            <a:off x="641445" y="1385248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阎昶澍：组长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MMU</a:t>
            </a:r>
            <a:r>
              <a:rPr lang="zh-CN" dirty="0"/>
              <a:t>部分，交叉编译与上板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郭东昊：组员，参与</a:t>
            </a:r>
            <a:r>
              <a:rPr lang="en-US" dirty="0"/>
              <a:t>Rust</a:t>
            </a:r>
            <a:r>
              <a:rPr lang="zh-CN" dirty="0"/>
              <a:t>改写，上板与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薄震宇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周翟恩和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王劲博：组员</a:t>
            </a:r>
            <a:endParaRPr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847E171-B387-C228-973A-102D6731B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131424" y="3815344"/>
            <a:ext cx="5929151" cy="1993062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C277E2F-10B5-6B3C-BA21-D2301266C98D}"/>
              </a:ext>
            </a:extLst>
          </p:cNvPr>
          <p:cNvSpPr txBox="1"/>
          <p:nvPr/>
        </p:nvSpPr>
        <p:spPr>
          <a:xfrm>
            <a:off x="5478349" y="5926394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C </a:t>
            </a:r>
            <a:r>
              <a:rPr lang="zh-CN" altLang="en-US" dirty="0"/>
              <a:t>统计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n-ea"/>
                <a:cs typeface="Arial"/>
              </a:rPr>
              <a:t>项目成果概述</a:t>
            </a:r>
            <a:endParaRPr lang="en-US" altLang="zh-CN" sz="4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n-ea"/>
              <a:cs typeface="Arial"/>
            </a:endParaRPr>
          </a:p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n-ea"/>
                <a:cs typeface="Arial"/>
              </a:rPr>
              <a:t>实现的功能</a:t>
            </a:r>
            <a:endParaRPr lang="zh-CN" sz="2400" b="1" dirty="0">
              <a:latin typeface="+mn-e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n-ea"/>
                <a:cs typeface="Arial"/>
              </a:rPr>
              <a:t>项目成果概述</a:t>
            </a:r>
            <a:endParaRPr lang="en-US" altLang="zh-CN" sz="4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n-ea"/>
              <a:cs typeface="Arial"/>
            </a:endParaRPr>
          </a:p>
          <a:p>
            <a:pPr>
              <a:defRPr/>
            </a:pPr>
            <a:r>
              <a:rPr lang="zh-CN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n-ea"/>
                <a:cs typeface="Arial"/>
              </a:rPr>
              <a:t>同类项目对比</a:t>
            </a:r>
            <a:endParaRPr lang="zh-CN" sz="2400" b="1" dirty="0">
              <a:latin typeface="+mn-ea"/>
            </a:endParaRPr>
          </a:p>
        </p:txBody>
      </p:sp>
      <p:graphicFrame>
        <p:nvGraphicFramePr>
          <p:cNvPr id="929128887" name="表格 929128886"/>
          <p:cNvGraphicFramePr>
            <a:graphicFrameLocks/>
          </p:cNvGraphicFramePr>
          <p:nvPr/>
        </p:nvGraphicFramePr>
        <p:xfrm>
          <a:off x="604874" y="2133599"/>
          <a:ext cx="10847347" cy="31699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7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7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4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项目完成度</a:t>
                      </a:r>
                      <a:r>
                        <a:rPr sz="2600" b="1" u="none" dirty="0">
                          <a:solidFill>
                            <a:schemeClr val="bg1"/>
                          </a:solidFill>
                        </a:rPr>
                        <a:t>\</a:t>
                      </a: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组名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mustrust (OSH2024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rust完整改写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交叉编译&amp;QEMU模拟器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上板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62473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/>
          <a:lstStyle/>
          <a:p>
            <a:pPr>
              <a:defRPr/>
            </a:pP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基本方法与原则</a:t>
            </a:r>
            <a:endParaRPr lang="zh-CN" dirty="0"/>
          </a:p>
        </p:txBody>
      </p:sp>
      <p:sp>
        <p:nvSpPr>
          <p:cNvPr id="3" name="文本框 2"/>
          <p:cNvSpPr txBox="1"/>
          <p:nvPr/>
        </p:nvSpPr>
        <p:spPr bwMode="auto">
          <a:xfrm>
            <a:off x="3496615" y="1487336"/>
            <a:ext cx="575041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dirty="0"/>
              <a:t>基本方法：</a:t>
            </a:r>
            <a:endParaRPr lang="en-US" altLang="zh-CN" sz="1600" dirty="0"/>
          </a:p>
          <a:p>
            <a:pPr>
              <a:defRPr/>
            </a:pPr>
            <a:r>
              <a:rPr lang="zh-CN" sz="1600" dirty="0"/>
              <a:t>将源码的函数进行拆分为各种简单的函数或方法，然后整合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dirty="0"/>
              <a:t>改写原则：</a:t>
            </a:r>
            <a:endParaRPr lang="en-US" altLang="zh-CN" sz="1600" dirty="0"/>
          </a:p>
          <a:p>
            <a:pPr>
              <a:defRPr/>
            </a:pPr>
            <a:r>
              <a:rPr lang="zh-CN" sz="1600" dirty="0"/>
              <a:t>保留源码中的所有函数，函数的命名相应的改为符合</a:t>
            </a:r>
            <a:r>
              <a:rPr lang="en-US" sz="1600" dirty="0"/>
              <a:t>Rust</a:t>
            </a:r>
            <a:r>
              <a:rPr lang="zh-CN" sz="1600" dirty="0"/>
              <a:t>命名规范的版本，如“</a:t>
            </a:r>
            <a:r>
              <a:rPr lang="en-US" sz="1600" dirty="0" err="1"/>
              <a:t>vInitialiseList</a:t>
            </a:r>
            <a:r>
              <a:rPr lang="zh-CN" sz="1600" dirty="0"/>
              <a:t>”改为“</a:t>
            </a:r>
            <a:r>
              <a:rPr lang="en-US" sz="1600" dirty="0" err="1"/>
              <a:t>initialize_list</a:t>
            </a:r>
            <a:r>
              <a:rPr lang="zh-CN" sz="1600" dirty="0"/>
              <a:t>”</a:t>
            </a:r>
            <a:endParaRPr sz="1600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062369C-A2C1-C8B5-D6E3-AC055D97D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D2E4A7F-67EB-C8ED-9F47-898727AD271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7399"/>
          <a:stretch/>
        </p:blipFill>
        <p:spPr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6725C75-FFA2-F4AD-B7F3-806A49BD62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>
            <a:extLst>
              <a:ext uri="{FF2B5EF4-FFF2-40B4-BE49-F238E27FC236}">
                <a16:creationId xmlns:a16="http://schemas.microsoft.com/office/drawing/2014/main" id="{A44F0D7C-8EF6-40E5-35C9-BEAA16094F64}"/>
              </a:ext>
            </a:extLst>
          </p:cNvPr>
          <p:cNvSpPr/>
          <p:nvPr/>
        </p:nvSpPr>
        <p:spPr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GQTtCBASFqANyL9PRS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1</TotalTime>
  <Words>1277</Words>
  <Application>Microsoft Office PowerPoint</Application>
  <DocSecurity>0</DocSecurity>
  <PresentationFormat>宽屏</PresentationFormat>
  <Paragraphs>175</Paragraphs>
  <Slides>23</Slides>
  <Notes>2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3</vt:i4>
      </vt:variant>
    </vt:vector>
  </HeadingPairs>
  <TitlesOfParts>
    <vt:vector size="34" baseType="lpstr">
      <vt:lpstr>等线</vt:lpstr>
      <vt:lpstr>微软雅黑</vt:lpstr>
      <vt:lpstr>Arial</vt:lpstr>
      <vt:lpstr>Calibri</vt:lpstr>
      <vt:lpstr>Courier New</vt:lpstr>
      <vt:lpstr>Segoe UI</vt:lpstr>
      <vt:lpstr>Segoe UI Light</vt:lpstr>
      <vt:lpstr>Times New Roman</vt:lpstr>
      <vt:lpstr>Office Theme</vt:lpstr>
      <vt:lpstr>oleObj</vt:lpstr>
      <vt:lpstr>think-cell Slide</vt:lpstr>
      <vt:lpstr>PowerPoint 演示文稿</vt:lpstr>
      <vt:lpstr>PowerPoint 演示文稿</vt:lpstr>
      <vt:lpstr>项目背景——FreeRTOS</vt:lpstr>
      <vt:lpstr>项目背景——Rust</vt:lpstr>
      <vt:lpstr>项目目标 ——用 Rust 改写 FreeRTOS 并支持 MMU</vt:lpstr>
      <vt:lpstr>PowerPoint 演示文稿</vt:lpstr>
      <vt:lpstr>PowerPoint 演示文稿</vt:lpstr>
      <vt:lpstr>PowerPoint 演示文稿</vt:lpstr>
      <vt:lpstr>Rust改写——基本方法与原则</vt:lpstr>
      <vt:lpstr>Rust改写——困难与解决方案</vt:lpstr>
      <vt:lpstr>Rust改写——适配上板</vt:lpstr>
      <vt:lpstr>Rust改写——task模块</vt:lpstr>
      <vt:lpstr>Rust改写——task模块</vt:lpstr>
      <vt:lpstr>MMU部分</vt:lpstr>
      <vt:lpstr>MMU部分（关键函数）</vt:lpstr>
      <vt:lpstr>MMU部分（关键函数）</vt:lpstr>
      <vt:lpstr>MMU部分（关键函数）</vt:lpstr>
      <vt:lpstr>MMU部分（关键函数）</vt:lpstr>
      <vt:lpstr>MMU部分（模拟结果）</vt:lpstr>
      <vt:lpstr>交叉编译与上板(bindgen方案)</vt:lpstr>
      <vt:lpstr>交叉编译与上板</vt:lpstr>
      <vt:lpstr>交叉编译与上板</vt:lpstr>
      <vt:lpstr>PowerPoint 演示文稿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cp:lastModifiedBy>Donghao Guo</cp:lastModifiedBy>
  <cp:revision>246</cp:revision>
  <dcterms:created xsi:type="dcterms:W3CDTF">2019-08-16T12:08:31Z</dcterms:created>
  <dcterms:modified xsi:type="dcterms:W3CDTF">2024-07-05T11:21:30Z</dcterms:modified>
  <cp:category/>
  <dc:identifier/>
  <cp:contentStatus/>
  <dc:language/>
  <cp:version/>
</cp:coreProperties>
</file>